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73" r:id="rId1"/>
    <p:sldMasterId id="2147483692" r:id="rId2"/>
  </p:sldMasterIdLst>
  <p:notesMasterIdLst>
    <p:notesMasterId r:id="rId14"/>
  </p:notesMasterIdLst>
  <p:sldIdLst>
    <p:sldId id="258" r:id="rId3"/>
    <p:sldId id="316" r:id="rId4"/>
    <p:sldId id="319" r:id="rId5"/>
    <p:sldId id="326" r:id="rId6"/>
    <p:sldId id="320" r:id="rId7"/>
    <p:sldId id="337" r:id="rId8"/>
    <p:sldId id="336" r:id="rId9"/>
    <p:sldId id="322" r:id="rId10"/>
    <p:sldId id="338" r:id="rId11"/>
    <p:sldId id="323" r:id="rId12"/>
    <p:sldId id="324" r:id="rId13"/>
  </p:sldIdLst>
  <p:sldSz cx="12192000" cy="6858000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F6F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0115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456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0" cy="495029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918830" cy="495029"/>
          </a:xfrm>
          <a:prstGeom prst="rect">
            <a:avLst/>
          </a:prstGeom>
        </p:spPr>
        <p:txBody>
          <a:bodyPr vert="horz" lIns="90754" tIns="45377" rIns="90754" bIns="45377" rtlCol="0"/>
          <a:lstStyle>
            <a:lvl1pPr algn="r">
              <a:defRPr sz="1200"/>
            </a:lvl1pPr>
          </a:lstStyle>
          <a:p>
            <a:fld id="{DE8D9AA1-C541-4E62-87A5-3445A943688F}" type="datetimeFigureOut">
              <a:rPr lang="en-US" smtClean="0"/>
              <a:t>10/7/202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54" tIns="45377" rIns="90754" bIns="45377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0754" tIns="45377" rIns="90754" bIns="45377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371285"/>
            <a:ext cx="2918830" cy="495028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5" y="9371285"/>
            <a:ext cx="2918830" cy="495028"/>
          </a:xfrm>
          <a:prstGeom prst="rect">
            <a:avLst/>
          </a:prstGeom>
        </p:spPr>
        <p:txBody>
          <a:bodyPr vert="horz" lIns="90754" tIns="45377" rIns="90754" bIns="45377" rtlCol="0" anchor="b"/>
          <a:lstStyle>
            <a:lvl1pPr algn="r">
              <a:defRPr sz="1200"/>
            </a:lvl1pPr>
          </a:lstStyle>
          <a:p>
            <a:fld id="{0D0692BC-95CD-49EB-A80F-61093A97EB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22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613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6607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99922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1247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72013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1EBFEE-287F-4704-BA19-562E124371D1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8386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F249306-97DC-43C1-BAC9-A19CB327F0E5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665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41D0FE8-6566-436D-BF7B-24746FFDE975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84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529371-66B6-4CB3-B143-6013C0AFA70F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37483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9CCA103-E018-412A-A81F-254CC6BBF17F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3967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785C796-A2F7-4D57-8C59-E42CF1C0978D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1902282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E8C4DB-0842-4230-96C0-F24C3847D8AC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26791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1A872E-1EF4-4D36-BA54-A5F2D018072C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04768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1B0BD1-677C-49FE-B42E-CB3A2C2CB6E4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61364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0FF8493-25D1-470D-9A2E-194507DCF9C7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289199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9C63EC-D6E7-4711-9F84-0DEFD641F9B7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9399773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A31FC9-C7DF-4F4F-BEDC-04194C117A8E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6232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1D24C0D-0C2E-41AD-BE07-863C01DEEA03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817084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B8B282-67F1-4D66-9E0B-A4DC66FE83A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021774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89E256-3E9E-4C41-ACD9-C20B94D4B4F4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0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88206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53FB39-B406-45B4-AABE-1CE80E65F0C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72799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A71883-B5D9-4233-83B8-4EF39B5CF9D6}" type="datetime1">
              <a:rPr lang="en-US" smtClean="0"/>
              <a:t>10/7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9278450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52B1279-6F50-499B-93ED-030FC415BE35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3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989501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C9F191-83D5-4B06-8DDE-F67C20B7A92C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7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920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D73FDF1-2B3F-4EA0-9722-E822A57591D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932396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BE564C-ADCB-4192-842F-740F50A7B7ED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0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5090320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itle</a:t>
            </a:r>
          </a:p>
        </p:txBody>
      </p:sp>
      <p:sp>
        <p:nvSpPr>
          <p:cNvPr id="3" name="Text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C8240A-AF4A-4E0A-A543-CDBD45AE3F3F}" type="datetime1">
              <a:rPr lang="en-US" smtClean="0"/>
              <a:t>10/7/2024</a:t>
            </a:fld>
            <a:endParaRPr lang="en-US"/>
          </a:p>
        </p:txBody>
      </p:sp>
      <p:sp>
        <p:nvSpPr>
          <p:cNvPr id="5" name="Foo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073CC-40D5-4B23-8DF0-9BD0A0C12F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9476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D501016-24D7-43E3-B4AC-96242C549FF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9639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027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5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93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D8BCAA-6D4B-4DC0-B6DF-D8A5B7815D04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4568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15AD52-A400-4129-B361-F62B2DEDF64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635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698D039-79B6-4540-B761-CEFBB8E9F940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4716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7924C4A-AAB2-4123-B0F7-AC8F7A0CBEFF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504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B617C0-1B5D-4BAA-B148-FE94908CC03F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372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ED7F8FB-C532-441A-8FDA-99BF55138B4D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95779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19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39FABDF-C247-464B-AA24-8A0F01879BF3}" type="datetime1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10/7/2024</a:t>
            </a:fld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9562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5F898E6-B846-448E-A7DD-7B07FF973939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/7/20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think-cell data - do not delete" hidden="1"/>
          <p:cNvGraphicFramePr>
            <a:graphicFrameLocks noChangeAspect="1"/>
          </p:cNvGraphicFramePr>
          <p:nvPr userDrawn="1"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5" name="Слайд think-cell" r:id="rId18" imgW="360" imgH="360" progId="TCLayout.ActiveDocument.1">
                  <p:embed/>
                </p:oleObj>
              </mc:Choice>
              <mc:Fallback>
                <p:oleObj name="Слайд think-cell" r:id="rId18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41137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666" r:id="rId13"/>
    <p:sldLayoutId id="2147483667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4142676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формирование специальных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</a:t>
            </a:r>
            <a:r>
              <a:rPr kumimoji="0" lang="ru-RU" alt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алоговых</a:t>
            </a:r>
            <a:r>
              <a:rPr kumimoji="0" lang="ru-RU" altLang="en-US" sz="4800" b="1" i="0" u="none" strike="noStrike" kern="1200" cap="none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режимов</a:t>
            </a:r>
            <a:endParaRPr kumimoji="0" lang="en-US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, 2024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32772173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Arial" panose="020B0604020202020204" pitchFamily="34" charset="0"/>
              </a:rPr>
              <a:t>ЗАПРЕТИТЕЛЬНЫЙ СПИСОК ОКЭД В СНР НА ОСНОВЕ </a:t>
            </a:r>
          </a:p>
          <a:p>
            <a:pPr marL="177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Arial" panose="020B0604020202020204" pitchFamily="34" charset="0"/>
              </a:rPr>
              <a:t>УПРОЩЕННОЙ ДЕКЛАРАЦИИ (1/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Arial" panose="020B0604020202020204" pitchFamily="34" charset="0"/>
              </a:rPr>
              <a:t>3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0" y="709893"/>
            <a:ext cx="5962389" cy="601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, связанная с оборотом наркотических средств, психотропных веществ и </a:t>
            </a:r>
            <a:r>
              <a:rPr kumimoji="1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курсоров</a:t>
            </a: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изводство и (или) оптовая реализация подакцизной продукции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ализация отдельных видов нефтепродуктов - бензина, дизельного топлива и мазута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по хранению зерна на хлебоприемных пунктах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ведение лотерей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в сфере игорного бизнеса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, связанная с оборотом радиоактивных материалов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инансовая, страховая деятельность и посредническая деятельность страхового брокера и страхового агента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хранная деятельность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, связанная с оборотом гражданского и служебного оружия и патронов к нему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по цифровому </a:t>
            </a:r>
            <a:r>
              <a:rPr kumimoji="1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йнингу</a:t>
            </a: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дропользование (за исключением деятельности по недропользованию, осуществляемой на основании лицензии на старательство)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бор (заготовка), хранение, переработка и реализация лома и отходов цветных и черных металлов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в рамках финансового лизинга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ренда и эксплуатация торгового рынка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дача в субаренду торговых объектов, относящихся к торговым рынкам, стационарным торговым объектам категории 1, 2 и 3 в соответствии с законодательством Республики Казахстан о регулировании торговой деятельности, а также находящихся на их территории торговых мест, торговых объектов и объектов общественного питания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ительство жилых и не жилых зданий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ализация жилищного фонда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нсультационные и (или) маркетинговые услуги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в области бухгалтерского учета или аудита;</a:t>
            </a: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kk-KZ" sz="1100" b="0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в области права, юстиции и правосудия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ительство дорог и автомагистралей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деятельность грузового железнодорожного транспорта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ительство железных дорог и метро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1" lang="kk-KZ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6449602" y="720537"/>
            <a:ext cx="5639621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ительство нефтяных и газовых магистральных трубопроводов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деятельность в области архитектуры для объектов атомной промышленности и атомной энергетики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троительство мостов и туннелей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kk-K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ительство стационарных торговых объектов категории 1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деятельность агентств по сбору платежей и кредитных бюро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птовая торговля рудами черных и цветных металлов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птовая торговля драгоценными металлами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птовая торговля сырой нефтью и попутным газом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деятельность грузового воздушного транспорта, подчиняющего расписанию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изводство продуктов нефтепереработки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товая торговля ломом и отходами черных и цветных металлов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оизводство автомобилей, кроме двигателей для автомобилей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изводство электроэнергии прочими электростанциями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рокерская деятельность по сделкам с ценными бумагами и товарами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ломбардов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нковская деятельность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на рынке ценных бумаг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63525" marR="0" lvl="1" indent="-2635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оме того не вправе применять режим:</a:t>
            </a:r>
          </a:p>
          <a:p>
            <a:pPr marL="26352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ЮЛ, в которых доля участия других ЮЛ      составляет более 25 процентов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49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ЮЛ, у которых учредитель или участник одновременно является учредителем или участником другого ЮЛ, применяющего СНР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49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Л, у которых учредитель или участник применяет СНР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49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налогоплательщики (ФЛ, ИП), являющиеся учредителями или участниками ЮЛ, применяющего СНР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49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труктурные подразделения ЮЛ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49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коммерческие организации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49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участники специальных экономических и индустриальных зон, международного технологического парка «Астана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аб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kk-K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граничение по вычетом между  взаимосвязанными сторонами;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69412" y="636180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662456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0883" y="2322"/>
            <a:ext cx="12181117" cy="74911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Я ПО </a:t>
            </a:r>
            <a:r>
              <a:rPr lang="kk-KZ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ИМ И ПРЕДЛАГАЕМЫМ СТАВКАМ</a:t>
            </a:r>
            <a:endParaRPr lang="ru-RU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718794"/>
              </p:ext>
            </p:extLst>
          </p:nvPr>
        </p:nvGraphicFramePr>
        <p:xfrm>
          <a:off x="49164" y="978356"/>
          <a:ext cx="12082783" cy="51059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03495">
                  <a:extLst>
                    <a:ext uri="{9D8B030D-6E8A-4147-A177-3AD203B41FA5}">
                      <a16:colId xmlns:a16="http://schemas.microsoft.com/office/drawing/2014/main" val="1442383604"/>
                    </a:ext>
                  </a:extLst>
                </a:gridCol>
                <a:gridCol w="1201654">
                  <a:extLst>
                    <a:ext uri="{9D8B030D-6E8A-4147-A177-3AD203B41FA5}">
                      <a16:colId xmlns:a16="http://schemas.microsoft.com/office/drawing/2014/main" val="677090320"/>
                    </a:ext>
                  </a:extLst>
                </a:gridCol>
                <a:gridCol w="766366">
                  <a:extLst>
                    <a:ext uri="{9D8B030D-6E8A-4147-A177-3AD203B41FA5}">
                      <a16:colId xmlns:a16="http://schemas.microsoft.com/office/drawing/2014/main" val="3892126857"/>
                    </a:ext>
                  </a:extLst>
                </a:gridCol>
                <a:gridCol w="911120">
                  <a:extLst>
                    <a:ext uri="{9D8B030D-6E8A-4147-A177-3AD203B41FA5}">
                      <a16:colId xmlns:a16="http://schemas.microsoft.com/office/drawing/2014/main" val="3543918213"/>
                    </a:ext>
                  </a:extLst>
                </a:gridCol>
                <a:gridCol w="811074">
                  <a:extLst>
                    <a:ext uri="{9D8B030D-6E8A-4147-A177-3AD203B41FA5}">
                      <a16:colId xmlns:a16="http://schemas.microsoft.com/office/drawing/2014/main" val="927715003"/>
                    </a:ext>
                  </a:extLst>
                </a:gridCol>
                <a:gridCol w="746942">
                  <a:extLst>
                    <a:ext uri="{9D8B030D-6E8A-4147-A177-3AD203B41FA5}">
                      <a16:colId xmlns:a16="http://schemas.microsoft.com/office/drawing/2014/main" val="1064085439"/>
                    </a:ext>
                  </a:extLst>
                </a:gridCol>
                <a:gridCol w="427250">
                  <a:extLst>
                    <a:ext uri="{9D8B030D-6E8A-4147-A177-3AD203B41FA5}">
                      <a16:colId xmlns:a16="http://schemas.microsoft.com/office/drawing/2014/main" val="1141667886"/>
                    </a:ext>
                  </a:extLst>
                </a:gridCol>
                <a:gridCol w="534154">
                  <a:extLst>
                    <a:ext uri="{9D8B030D-6E8A-4147-A177-3AD203B41FA5}">
                      <a16:colId xmlns:a16="http://schemas.microsoft.com/office/drawing/2014/main" val="207749641"/>
                    </a:ext>
                  </a:extLst>
                </a:gridCol>
                <a:gridCol w="516048">
                  <a:extLst>
                    <a:ext uri="{9D8B030D-6E8A-4147-A177-3AD203B41FA5}">
                      <a16:colId xmlns:a16="http://schemas.microsoft.com/office/drawing/2014/main" val="1007786040"/>
                    </a:ext>
                  </a:extLst>
                </a:gridCol>
                <a:gridCol w="597528">
                  <a:extLst>
                    <a:ext uri="{9D8B030D-6E8A-4147-A177-3AD203B41FA5}">
                      <a16:colId xmlns:a16="http://schemas.microsoft.com/office/drawing/2014/main" val="921346712"/>
                    </a:ext>
                  </a:extLst>
                </a:gridCol>
                <a:gridCol w="633743">
                  <a:extLst>
                    <a:ext uri="{9D8B030D-6E8A-4147-A177-3AD203B41FA5}">
                      <a16:colId xmlns:a16="http://schemas.microsoft.com/office/drawing/2014/main" val="645835081"/>
                    </a:ext>
                  </a:extLst>
                </a:gridCol>
                <a:gridCol w="624689">
                  <a:extLst>
                    <a:ext uri="{9D8B030D-6E8A-4147-A177-3AD203B41FA5}">
                      <a16:colId xmlns:a16="http://schemas.microsoft.com/office/drawing/2014/main" val="4257034295"/>
                    </a:ext>
                  </a:extLst>
                </a:gridCol>
                <a:gridCol w="932507">
                  <a:extLst>
                    <a:ext uri="{9D8B030D-6E8A-4147-A177-3AD203B41FA5}">
                      <a16:colId xmlns:a16="http://schemas.microsoft.com/office/drawing/2014/main" val="743036631"/>
                    </a:ext>
                  </a:extLst>
                </a:gridCol>
                <a:gridCol w="796705">
                  <a:extLst>
                    <a:ext uri="{9D8B030D-6E8A-4147-A177-3AD203B41FA5}">
                      <a16:colId xmlns:a16="http://schemas.microsoft.com/office/drawing/2014/main" val="3716026871"/>
                    </a:ext>
                  </a:extLst>
                </a:gridCol>
                <a:gridCol w="868768">
                  <a:extLst>
                    <a:ext uri="{9D8B030D-6E8A-4147-A177-3AD203B41FA5}">
                      <a16:colId xmlns:a16="http://schemas.microsoft.com/office/drawing/2014/main" val="242352874"/>
                    </a:ext>
                  </a:extLst>
                </a:gridCol>
                <a:gridCol w="710740">
                  <a:extLst>
                    <a:ext uri="{9D8B030D-6E8A-4147-A177-3AD203B41FA5}">
                      <a16:colId xmlns:a16="http://schemas.microsoft.com/office/drawing/2014/main" val="2896722201"/>
                    </a:ext>
                  </a:extLst>
                </a:gridCol>
              </a:tblGrid>
              <a:tr h="38507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НР в новом </a:t>
                      </a:r>
                      <a:r>
                        <a:rPr lang="kk-KZ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оговом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кодексе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йствующие СНР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14">
                  <a:txBody>
                    <a:bodyPr/>
                    <a:lstStyle/>
                    <a:p>
                      <a:pPr algn="ctr" fontAlgn="ctr"/>
                      <a:endParaRPr lang="en-US" sz="100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год </a:t>
                      </a:r>
                      <a:b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0990432"/>
                  </a:ext>
                </a:extLst>
              </a:tr>
              <a:tr h="47558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 НП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ГД (2023 г.)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числено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йствующая ставк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яя ставк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вая ставка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числение по новым ставкам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тери или/увеличение бюджета, </a:t>
                      </a:r>
                      <a:b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9149163"/>
                  </a:ext>
                </a:extLst>
              </a:tr>
              <a:tr h="257989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ПН/КП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.</a:t>
                      </a:r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ПН/ КП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. </a:t>
                      </a:r>
                    </a:p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ПН/ КП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.</a:t>
                      </a:r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ПН/ КП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.</a:t>
                      </a:r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ПН/КПН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.</a:t>
                      </a:r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лог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8471263"/>
                  </a:ext>
                </a:extLst>
              </a:tr>
              <a:tr h="357575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НР для </a:t>
                      </a:r>
                      <a:r>
                        <a:rPr lang="ru-RU" sz="100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амозанятых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основе патента (1%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 902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5 166 40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51 66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 351 664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 351 664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49342785"/>
                  </a:ext>
                </a:extLst>
              </a:tr>
              <a:tr h="51216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использованием специального мобильного приложения (1%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102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694 948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 949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6 94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6 949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3107891"/>
                  </a:ext>
                </a:extLst>
              </a:tr>
              <a:tr h="32520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латформенной занятости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9068170"/>
                  </a:ext>
                </a:extLst>
              </a:tr>
              <a:tr h="0"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НР для СМБ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основе упрощенной декларации (3%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31 685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070 910 23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4 041 348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0 705 66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8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 (с учетом уменьшения на 50%) и 12% (на ОУР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5758011"/>
                  </a:ext>
                </a:extLst>
              </a:tr>
              <a:tr h="379308">
                <a:tc v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5 449 028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1 407 68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80 705 669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30 702 011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3893988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</a:t>
                      </a:r>
                      <a:r>
                        <a:rPr lang="ru-RU" sz="1000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.ч</a:t>
                      </a:r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реализация в адрес ОУР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370 241 339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9328220"/>
                  </a:ext>
                </a:extLst>
              </a:tr>
              <a:tr h="24963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ctr"/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44 428 961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90906740"/>
                  </a:ext>
                </a:extLst>
              </a:tr>
              <a:tr h="3575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изация для других (ФЛ и СНР)</a:t>
                      </a:r>
                      <a:endParaRPr lang="ru-RU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700 668 896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1 020 067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7059099"/>
                  </a:ext>
                </a:extLst>
              </a:tr>
              <a:tr h="40886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ого налога, доход менее 0,5 млрд.(4% и 8%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05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00 509 388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6 033 299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2 до 4 и 8%</a:t>
                      </a:r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6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015 282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 018 017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6 018 017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353881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l" fontAlgn="t"/>
                      <a:r>
                        <a:rPr lang="ru-RU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иксированный вычет, доход менее 0,5 млрд. (10% и 20%)</a:t>
                      </a:r>
                      <a:endParaRPr lang="ru-RU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38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 830 391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777 046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 20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2%</a:t>
                      </a:r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2077620"/>
                  </a:ext>
                </a:extLst>
              </a:tr>
              <a:tr h="48716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l" fontAlgn="t"/>
                      <a:endParaRPr lang="ru-RU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en-US" sz="100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004 912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72 134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772 134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98832"/>
                  </a:ext>
                </a:extLst>
              </a:tr>
              <a:tr h="357575">
                <a:tc gridSpan="2">
                  <a:txBody>
                    <a:bodyPr/>
                    <a:lstStyle/>
                    <a:p>
                      <a:pPr algn="ctr" fontAlgn="t"/>
                      <a:endParaRPr lang="ru-RU" sz="1000" b="1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fontAlgn="t"/>
                      <a:r>
                        <a:rPr lang="ru-RU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017 578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280 111 368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4 270 306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0 705 669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9%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%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5%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67 469 221</a:t>
                      </a:r>
                      <a:endParaRPr lang="en-US" sz="10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3 198 915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180 705 669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00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2 493 246</a:t>
                      </a:r>
                      <a:endParaRPr lang="en-US" sz="10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4575" marR="4575" marT="457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1163307"/>
                  </a:ext>
                </a:extLst>
              </a:tr>
            </a:tbl>
          </a:graphicData>
        </a:graphic>
      </p:graphicFrame>
      <p:sp>
        <p:nvSpPr>
          <p:cNvPr id="6" name="object 5"/>
          <p:cNvSpPr txBox="1"/>
          <p:nvPr/>
        </p:nvSpPr>
        <p:spPr>
          <a:xfrm>
            <a:off x="11349286" y="741362"/>
            <a:ext cx="1311662" cy="28212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239"/>
              </a:lnSpc>
            </a:pPr>
            <a:r>
              <a:rPr lang="ru-RU" sz="1000" i="1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ыс</a:t>
            </a:r>
            <a:r>
              <a:rPr sz="1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тенг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261917" y="6428777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928260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6"/>
            <a:ext cx="12192000" cy="767888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ТЕКУЩИЕ РЕЖИМЫ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:a16="http://schemas.microsoft.com/office/drawing/2014/main" id="{5A62DD89-8979-CCA6-ADF5-7E1498218D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3591365"/>
              </p:ext>
            </p:extLst>
          </p:nvPr>
        </p:nvGraphicFramePr>
        <p:xfrm>
          <a:off x="180228" y="878186"/>
          <a:ext cx="11831544" cy="5658646"/>
        </p:xfrm>
        <a:graphic>
          <a:graphicData uri="http://schemas.openxmlformats.org/drawingml/2006/table">
            <a:tbl>
              <a:tblPr/>
              <a:tblGrid>
                <a:gridCol w="2335794">
                  <a:extLst>
                    <a:ext uri="{9D8B030D-6E8A-4147-A177-3AD203B41FA5}">
                      <a16:colId xmlns:a16="http://schemas.microsoft.com/office/drawing/2014/main" val="3397614102"/>
                    </a:ext>
                  </a:extLst>
                </a:gridCol>
                <a:gridCol w="1674891">
                  <a:extLst>
                    <a:ext uri="{9D8B030D-6E8A-4147-A177-3AD203B41FA5}">
                      <a16:colId xmlns:a16="http://schemas.microsoft.com/office/drawing/2014/main" val="1502881915"/>
                    </a:ext>
                  </a:extLst>
                </a:gridCol>
                <a:gridCol w="1584356">
                  <a:extLst>
                    <a:ext uri="{9D8B030D-6E8A-4147-A177-3AD203B41FA5}">
                      <a16:colId xmlns:a16="http://schemas.microsoft.com/office/drawing/2014/main" val="2383794942"/>
                    </a:ext>
                  </a:extLst>
                </a:gridCol>
                <a:gridCol w="2833735">
                  <a:extLst>
                    <a:ext uri="{9D8B030D-6E8A-4147-A177-3AD203B41FA5}">
                      <a16:colId xmlns:a16="http://schemas.microsoft.com/office/drawing/2014/main" val="1428409228"/>
                    </a:ext>
                  </a:extLst>
                </a:gridCol>
                <a:gridCol w="1828801">
                  <a:extLst>
                    <a:ext uri="{9D8B030D-6E8A-4147-A177-3AD203B41FA5}">
                      <a16:colId xmlns:a16="http://schemas.microsoft.com/office/drawing/2014/main" val="3488992352"/>
                    </a:ext>
                  </a:extLst>
                </a:gridCol>
                <a:gridCol w="1573967">
                  <a:extLst>
                    <a:ext uri="{9D8B030D-6E8A-4147-A177-3AD203B41FA5}">
                      <a16:colId xmlns:a16="http://schemas.microsoft.com/office/drawing/2014/main" val="1722745658"/>
                    </a:ext>
                  </a:extLst>
                </a:gridCol>
              </a:tblGrid>
              <a:tr h="61181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indent="457200" algn="l" rtl="0" fontAlgn="ctr"/>
                      <a:endParaRPr lang="ru-KZ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30555" algn="l"/>
                        </a:tabLst>
                      </a:pPr>
                      <a:r>
                        <a:rPr lang="ru-RU" sz="1400" b="1" u="non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убъек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30555" algn="l"/>
                        </a:tabLst>
                      </a:pPr>
                      <a:r>
                        <a:rPr lang="ru-RU" sz="1400" b="1" u="non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Объек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30555" algn="l"/>
                        </a:tabLst>
                      </a:pPr>
                      <a:r>
                        <a:rPr lang="ru-RU" sz="1400" b="1" u="non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редел </a:t>
                      </a:r>
                    </a:p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30555" algn="l"/>
                        </a:tabLst>
                      </a:pPr>
                      <a:r>
                        <a:rPr lang="ru-RU" sz="1400" b="1" u="non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по доходу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30555" algn="l"/>
                        </a:tabLst>
                      </a:pPr>
                      <a:r>
                        <a:rPr lang="ru-RU" sz="1400" b="1" u="non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Численность работнико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tabLst>
                          <a:tab pos="630555" algn="l"/>
                        </a:tabLst>
                      </a:pPr>
                      <a:r>
                        <a:rPr lang="ru-RU" sz="1400" b="1" u="non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Verdana" panose="020B0604030504040204" pitchFamily="34" charset="0"/>
                          <a:cs typeface="Arial" panose="020B0604020202020204" pitchFamily="34" charset="0"/>
                        </a:rPr>
                        <a:t>Ставк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323301"/>
                  </a:ext>
                </a:extLst>
              </a:tr>
              <a:tr h="51706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атен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П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528 МРП</a:t>
                      </a:r>
                      <a:r>
                        <a:rPr lang="ru-RU" sz="1400" b="0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год 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3 млн. тенге)</a:t>
                      </a:r>
                      <a:endParaRPr lang="ru-RU" sz="1400" b="0" i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3703"/>
                  </a:ext>
                </a:extLst>
              </a:tr>
              <a:tr h="42957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обильное приложе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П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 528 МРП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год 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13 млн. тенге)</a:t>
                      </a:r>
                      <a:endParaRPr lang="ru-RU" sz="1400" b="0" i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08525"/>
                  </a:ext>
                </a:extLst>
              </a:tr>
              <a:tr h="644343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прощенная декларац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П, ТО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 038 МРП 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полугодие 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88,7 млн. тенге)</a:t>
                      </a:r>
                      <a:endParaRPr lang="ru-RU" sz="1400" b="0" i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30 чел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460155"/>
                  </a:ext>
                </a:extLst>
              </a:tr>
              <a:tr h="61978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ксированный выче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П, ТО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 – </a:t>
                      </a:r>
                    </a:p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ычет до 7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4 184 МРП </a:t>
                      </a:r>
                      <a:b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год 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532 млн. тенге)</a:t>
                      </a:r>
                      <a:endParaRPr lang="ru-RU" sz="1400" b="0" i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50 чел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% - для ЮЛ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% - для ИП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847426"/>
                  </a:ext>
                </a:extLst>
              </a:tr>
              <a:tr h="619786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ознич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П, ТО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 - ФО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0 000 МРП </a:t>
                      </a:r>
                      <a:b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год 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2,2 млрд. тенге)</a:t>
                      </a:r>
                      <a:endParaRPr lang="ru-RU" sz="1400" b="0" i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200 чел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%-2%- В2С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% - В2В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36835"/>
                  </a:ext>
                </a:extLst>
              </a:tr>
              <a:tr h="68500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ЮЛ-СХТП (-70%)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ЮЛ-СХТП, КФ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Налоги в</a:t>
                      </a:r>
                      <a:r>
                        <a:rPr lang="ru-RU" sz="1400" b="0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общеустановленном режиме – 70%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261818"/>
                  </a:ext>
                </a:extLst>
              </a:tr>
              <a:tr h="146496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ЗН</a:t>
                      </a:r>
                      <a:r>
                        <a:rPr lang="ru-RU" sz="14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для КФХ</a:t>
                      </a:r>
                      <a:endParaRPr lang="ru-RU" sz="14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ФХ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еделы только по площади земельного участк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ysClr val="window" lastClr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51886633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69413" y="6452419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20262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0883" y="2322"/>
            <a:ext cx="12181117" cy="74911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ОСТАТКИ ДЕЙСТВУЮЩЕГО МЕХАНИЗМА СНР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62134" y="1321806"/>
            <a:ext cx="11063339" cy="43396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2438">
              <a:lnSpc>
                <a:spcPct val="150000"/>
              </a:lnSpc>
            </a:pPr>
            <a:endParaRPr lang="ru-RU" sz="2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2438" indent="-285750" algn="just">
              <a:buFont typeface="Wingdings" panose="05000000000000000000" pitchFamily="2" charset="2"/>
              <a:buChar char="Ø"/>
            </a:pP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и крупный бизнес имеет скрытые стимулы для перехода в категорию микро и малого бизнеса, чтобы пользоваться СНР путём искусственного дробления компании, что объясняет низкую долю среднего бизнеса в налоговых поступлениях   </a:t>
            </a:r>
          </a:p>
          <a:p>
            <a:pPr marL="166688" algn="just"/>
            <a:endParaRPr lang="ru-RU" sz="2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6688" algn="just"/>
            <a:endParaRPr lang="ru-RU" sz="2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2438" indent="-285750" algn="just">
              <a:buFont typeface="Wingdings" panose="05000000000000000000" pitchFamily="2" charset="2"/>
              <a:buChar char="Ø"/>
            </a:pPr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Р искажают конкурентную среду. Добросовестному среднему бизнесу сложнее конкурировать с недобросовестным, который путём дробления компании использует льготный режим налогообложения</a:t>
            </a:r>
          </a:p>
          <a:p>
            <a:pPr marL="166688" algn="just"/>
            <a:endParaRPr lang="ru-RU" sz="24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9199076" y="6419724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2189323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0883" y="2322"/>
            <a:ext cx="12181117" cy="74911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Я ПО НАЛОГОПЛАТЕЛЬЩИКАМ, ПРИМЕНЯЩИМ СНР 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5A62DD89-8979-CCA6-ADF5-7E1498218D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7344643"/>
              </p:ext>
            </p:extLst>
          </p:nvPr>
        </p:nvGraphicFramePr>
        <p:xfrm>
          <a:off x="305771" y="924026"/>
          <a:ext cx="11569569" cy="5505650"/>
        </p:xfrm>
        <a:graphic>
          <a:graphicData uri="http://schemas.openxmlformats.org/drawingml/2006/table">
            <a:tbl>
              <a:tblPr/>
              <a:tblGrid>
                <a:gridCol w="2723953">
                  <a:extLst>
                    <a:ext uri="{9D8B030D-6E8A-4147-A177-3AD203B41FA5}">
                      <a16:colId xmlns:a16="http://schemas.microsoft.com/office/drawing/2014/main" val="3397614102"/>
                    </a:ext>
                  </a:extLst>
                </a:gridCol>
                <a:gridCol w="1524169">
                  <a:extLst>
                    <a:ext uri="{9D8B030D-6E8A-4147-A177-3AD203B41FA5}">
                      <a16:colId xmlns:a16="http://schemas.microsoft.com/office/drawing/2014/main" val="1502881915"/>
                    </a:ext>
                  </a:extLst>
                </a:gridCol>
                <a:gridCol w="1692998">
                  <a:extLst>
                    <a:ext uri="{9D8B030D-6E8A-4147-A177-3AD203B41FA5}">
                      <a16:colId xmlns:a16="http://schemas.microsoft.com/office/drawing/2014/main" val="537026919"/>
                    </a:ext>
                  </a:extLst>
                </a:gridCol>
                <a:gridCol w="1629624">
                  <a:extLst>
                    <a:ext uri="{9D8B030D-6E8A-4147-A177-3AD203B41FA5}">
                      <a16:colId xmlns:a16="http://schemas.microsoft.com/office/drawing/2014/main" val="3352297387"/>
                    </a:ext>
                  </a:extLst>
                </a:gridCol>
                <a:gridCol w="1502875">
                  <a:extLst>
                    <a:ext uri="{9D8B030D-6E8A-4147-A177-3AD203B41FA5}">
                      <a16:colId xmlns:a16="http://schemas.microsoft.com/office/drawing/2014/main" val="809123538"/>
                    </a:ext>
                  </a:extLst>
                </a:gridCol>
                <a:gridCol w="1438165">
                  <a:extLst>
                    <a:ext uri="{9D8B030D-6E8A-4147-A177-3AD203B41FA5}">
                      <a16:colId xmlns:a16="http://schemas.microsoft.com/office/drawing/2014/main" val="516999224"/>
                    </a:ext>
                  </a:extLst>
                </a:gridCol>
                <a:gridCol w="1057785">
                  <a:extLst>
                    <a:ext uri="{9D8B030D-6E8A-4147-A177-3AD203B41FA5}">
                      <a16:colId xmlns:a16="http://schemas.microsoft.com/office/drawing/2014/main" val="4240458017"/>
                    </a:ext>
                  </a:extLst>
                </a:gridCol>
              </a:tblGrid>
              <a:tr h="58651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indent="457200" algn="l" rtl="0" fontAlgn="ctr"/>
                      <a:endParaRPr lang="ru-KZ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 г.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 г.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0 г.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1 г.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2 г.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3 г.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323301"/>
                  </a:ext>
                </a:extLst>
              </a:tr>
              <a:tr h="495680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атен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6 787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7 738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4 215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 112</a:t>
                      </a:r>
                      <a:endParaRPr lang="en-US" sz="1600" b="0" i="0" u="none" strike="noStrike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 770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 902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3703"/>
                  </a:ext>
                </a:extLst>
              </a:tr>
              <a:tr h="41180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обильное приложение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8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102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08525"/>
                  </a:ext>
                </a:extLst>
              </a:tr>
              <a:tr h="617694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Упрощенная декларац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1</a:t>
                      </a:r>
                      <a:r>
                        <a:rPr lang="en-US" sz="16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77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6 470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9</a:t>
                      </a:r>
                      <a:r>
                        <a:rPr lang="en-US" sz="16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57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6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187 554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6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82 686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</a:t>
                      </a:r>
                      <a:r>
                        <a:rPr lang="en-US" sz="16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931 685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61460155"/>
                  </a:ext>
                </a:extLst>
              </a:tr>
              <a:tr h="57120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Фиксированный выче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3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3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42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073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32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469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847426"/>
                  </a:ext>
                </a:extLst>
              </a:tr>
              <a:tr h="571208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ознич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37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151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 550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7136835"/>
                  </a:ext>
                </a:extLst>
              </a:tr>
              <a:tr h="75051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ЮЛ-СХТП (-70%)</a:t>
                      </a: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03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03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35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25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 30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46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0214990"/>
                  </a:ext>
                </a:extLst>
              </a:tr>
              <a:tr h="75051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ЕЗН</a:t>
                      </a:r>
                      <a:r>
                        <a:rPr lang="ru-RU" sz="16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для КФХ</a:t>
                      </a: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2 35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7 07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5 93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9 46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5 28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7 58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261818"/>
                  </a:ext>
                </a:extLst>
              </a:tr>
              <a:tr h="75051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ТОГ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06 465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67 744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57 30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41 49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749 16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27 753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214126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40782" y="6429676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9102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10883" y="2322"/>
            <a:ext cx="12181117" cy="74911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Я ПО ДОХОДАМ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5A62DD89-8979-CCA6-ADF5-7E1498218D6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41422040"/>
              </p:ext>
            </p:extLst>
          </p:nvPr>
        </p:nvGraphicFramePr>
        <p:xfrm>
          <a:off x="344415" y="948677"/>
          <a:ext cx="11514052" cy="5279688"/>
        </p:xfrm>
        <a:graphic>
          <a:graphicData uri="http://schemas.openxmlformats.org/drawingml/2006/table">
            <a:tbl>
              <a:tblPr/>
              <a:tblGrid>
                <a:gridCol w="1436401">
                  <a:extLst>
                    <a:ext uri="{9D8B030D-6E8A-4147-A177-3AD203B41FA5}">
                      <a16:colId xmlns:a16="http://schemas.microsoft.com/office/drawing/2014/main" val="3397614102"/>
                    </a:ext>
                  </a:extLst>
                </a:gridCol>
                <a:gridCol w="3243714">
                  <a:extLst>
                    <a:ext uri="{9D8B030D-6E8A-4147-A177-3AD203B41FA5}">
                      <a16:colId xmlns:a16="http://schemas.microsoft.com/office/drawing/2014/main" val="1502881915"/>
                    </a:ext>
                  </a:extLst>
                </a:gridCol>
                <a:gridCol w="3724977">
                  <a:extLst>
                    <a:ext uri="{9D8B030D-6E8A-4147-A177-3AD203B41FA5}">
                      <a16:colId xmlns:a16="http://schemas.microsoft.com/office/drawing/2014/main" val="537026919"/>
                    </a:ext>
                  </a:extLst>
                </a:gridCol>
                <a:gridCol w="3108960">
                  <a:extLst>
                    <a:ext uri="{9D8B030D-6E8A-4147-A177-3AD203B41FA5}">
                      <a16:colId xmlns:a16="http://schemas.microsoft.com/office/drawing/2014/main" val="3352297387"/>
                    </a:ext>
                  </a:extLst>
                </a:gridCol>
              </a:tblGrid>
              <a:tr h="612284">
                <a:tc gridSpan="2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indent="457200"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НР</a:t>
                      </a:r>
                      <a:endParaRPr lang="ru-KZ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ый налог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5323301"/>
                  </a:ext>
                </a:extLst>
              </a:tr>
              <a:tr h="261905">
                <a:tc rowSpan="3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8 г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1 177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3703"/>
                  </a:ext>
                </a:extLst>
              </a:tr>
              <a:tr h="261253">
                <a:tc vMerge="1"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ГД, тыс. тен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863 870 018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7008525"/>
                  </a:ext>
                </a:extLst>
              </a:tr>
              <a:tr h="257242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ий доход, тыс.тен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511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5674188"/>
                  </a:ext>
                </a:extLst>
              </a:tr>
              <a:tr h="257242"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19 г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6 470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75747904"/>
                  </a:ext>
                </a:extLst>
              </a:tr>
              <a:tr h="257242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ГД, тыс. тен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743 862 756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65899617"/>
                  </a:ext>
                </a:extLst>
              </a:tr>
              <a:tr h="257242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ий доход, тыс.тен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032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8295091"/>
                  </a:ext>
                </a:extLst>
              </a:tr>
              <a:tr h="257242"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0 г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9 657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1173196"/>
                  </a:ext>
                </a:extLst>
              </a:tr>
              <a:tr h="257242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ГД, тыс. тен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828 080 411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4933920"/>
                  </a:ext>
                </a:extLst>
              </a:tr>
              <a:tr h="257242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ий доход, тыс.тен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899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7152217"/>
                  </a:ext>
                </a:extLst>
              </a:tr>
              <a:tr h="257867"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1 г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187 554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037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9289636"/>
                  </a:ext>
                </a:extLst>
              </a:tr>
              <a:tr h="257867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ГД, тыс. тен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611 494 874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0 740 078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9898831"/>
                  </a:ext>
                </a:extLst>
              </a:tr>
              <a:tr h="257867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ий доход, тыс.тен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094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3 935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3489772"/>
                  </a:ext>
                </a:extLst>
              </a:tr>
              <a:tr h="257867"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2 г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482 686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 151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90457495"/>
                  </a:ext>
                </a:extLst>
              </a:tr>
              <a:tr h="257867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ГД, тыс. тен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     12 708 729 557 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2 673 148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9299464"/>
                  </a:ext>
                </a:extLst>
              </a:tr>
              <a:tr h="257867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ий доход, тыс.тен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 571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7 733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410118"/>
                  </a:ext>
                </a:extLst>
              </a:tr>
              <a:tr h="257242">
                <a:tc rowSpan="3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23 г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ичество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931 685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</a:t>
                      </a:r>
                      <a:r>
                        <a:rPr lang="en-US" sz="160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051</a:t>
                      </a:r>
                      <a:endParaRPr lang="en-US" sz="160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2626662"/>
                  </a:ext>
                </a:extLst>
              </a:tr>
              <a:tr h="257242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ГД (только УД)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 452 468 056</a:t>
                      </a:r>
                      <a:endParaRPr lang="en-US" sz="16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 000 509 388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4487456"/>
                  </a:ext>
                </a:extLst>
              </a:tr>
              <a:tr h="281866">
                <a:tc vMerge="1">
                  <a:txBody>
                    <a:bodyPr/>
                    <a:lstStyle/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endParaRPr lang="ru-RU" sz="1600" b="1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едний доход, тыс.тенге</a:t>
                      </a:r>
                      <a:endParaRPr lang="ru-RU" sz="16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r>
                        <a:rPr lang="en-US" sz="1600" b="1" i="0" u="none" strike="noStrike" baseline="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482</a:t>
                      </a:r>
                      <a:endParaRPr lang="en-US" sz="1600" b="1" i="0" u="none" strike="noStrike" dirty="0">
                        <a:solidFill>
                          <a:srgbClr val="C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576" marR="2576" marT="2576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n-US" sz="16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2 333</a:t>
                      </a:r>
                    </a:p>
                  </a:txBody>
                  <a:tcPr marL="3175" marR="3175" marT="3175" marB="0" anchor="ctr">
                    <a:lnL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ysClr val="windowText" lastClr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5873260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80557" y="642560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5870805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0" y="0"/>
            <a:ext cx="12181117" cy="74911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АДАЦИЯ ПО СУММЕ ДОХОДА СНР РОЗНИЧНОГО НАЛОГА ЗА 2023 ГОД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4949339"/>
              </p:ext>
            </p:extLst>
          </p:nvPr>
        </p:nvGraphicFramePr>
        <p:xfrm>
          <a:off x="258556" y="1127603"/>
          <a:ext cx="11664000" cy="55212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24000">
                  <a:extLst>
                    <a:ext uri="{9D8B030D-6E8A-4147-A177-3AD203B41FA5}">
                      <a16:colId xmlns:a16="http://schemas.microsoft.com/office/drawing/2014/main" val="382967787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189595890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23358577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895313189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098166613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66313306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00566902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918750966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3434807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750852928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104017168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38595543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974171786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7257970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933171154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2633719104"/>
                    </a:ext>
                  </a:extLst>
                </a:gridCol>
                <a:gridCol w="648000">
                  <a:extLst>
                    <a:ext uri="{9D8B030D-6E8A-4147-A177-3AD203B41FA5}">
                      <a16:colId xmlns:a16="http://schemas.microsoft.com/office/drawing/2014/main" val="1155001281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3749044119"/>
                    </a:ext>
                  </a:extLst>
                </a:gridCol>
                <a:gridCol w="576000">
                  <a:extLst>
                    <a:ext uri="{9D8B030D-6E8A-4147-A177-3AD203B41FA5}">
                      <a16:colId xmlns:a16="http://schemas.microsoft.com/office/drawing/2014/main" val="1539026305"/>
                    </a:ext>
                  </a:extLst>
                </a:gridCol>
              </a:tblGrid>
              <a:tr h="0">
                <a:tc rowSpan="2">
                  <a:txBody>
                    <a:bodyPr/>
                    <a:lstStyle/>
                    <a:p>
                      <a:pPr algn="l" rtl="0" fontAlgn="ctr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адация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Л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ЮЛ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rtl="0" fontAlgn="b"/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gridSpan="6">
                  <a:txBody>
                    <a:bodyPr/>
                    <a:lstStyle/>
                    <a:p>
                      <a:pPr algn="ctr" rtl="0" fontAlgn="b"/>
                      <a:r>
                        <a:rPr lang="ru-RU" sz="105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ий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0443560"/>
                  </a:ext>
                </a:extLst>
              </a:tr>
              <a:tr h="50131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.вес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.в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аст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.вес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.в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аст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.вес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.в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аст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.вес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.в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аст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л-во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.вес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.в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аст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.вес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д.вес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 </a:t>
                      </a:r>
                      <a:r>
                        <a:rPr lang="ru-RU" sz="1050" b="1" u="none" strike="noStrike" dirty="0" err="1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раст</a:t>
                      </a:r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6762762"/>
                  </a:ext>
                </a:extLst>
              </a:tr>
              <a:tr h="316568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улевые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99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8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97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6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6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3328913"/>
                  </a:ext>
                </a:extLst>
              </a:tr>
              <a:tr h="316568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 1 млн.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2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0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2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2763112"/>
                  </a:ext>
                </a:extLst>
              </a:tr>
              <a:tr h="44482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 до 5 млн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7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846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7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8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9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4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6074959"/>
                  </a:ext>
                </a:extLst>
              </a:tr>
              <a:tr h="47201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5 до 10 млн.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,4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485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6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7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 85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52763919"/>
                  </a:ext>
                </a:extLst>
              </a:tr>
              <a:tr h="47201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0 до 20 млн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5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 49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9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4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342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4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2 836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2976467"/>
                  </a:ext>
                </a:extLst>
              </a:tr>
              <a:tr h="47201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20 до 50 млн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65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941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,6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9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9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9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91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,9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24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,9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8 86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1044030"/>
                  </a:ext>
                </a:extLst>
              </a:tr>
              <a:tr h="47201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50 до 100 млн.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1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7 46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,9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8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3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8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3 328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82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0 797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3136421"/>
                  </a:ext>
                </a:extLst>
              </a:tr>
              <a:tr h="47201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100 до 500 млн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27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7 07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0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6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4,6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2 033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,6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204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,5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59 107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4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48935895"/>
                  </a:ext>
                </a:extLst>
              </a:tr>
              <a:tr h="627454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 500 млн. до 1 млрд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3 977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,8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,4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 013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2,3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6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9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,4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6 990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,0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,1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9675927"/>
                  </a:ext>
                </a:extLst>
              </a:tr>
              <a:tr h="472011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ольше 1 млрд.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3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 14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,2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6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 225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,7%</a:t>
                      </a:r>
                      <a:endParaRPr lang="en-US" sz="1050" b="0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5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6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4 370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,9%</a:t>
                      </a:r>
                      <a:endParaRPr lang="en-US" sz="105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3715915"/>
                  </a:ext>
                </a:extLst>
              </a:tr>
              <a:tr h="316568">
                <a:tc>
                  <a:txBody>
                    <a:bodyPr/>
                    <a:lstStyle/>
                    <a:p>
                      <a:pPr algn="l" rtl="0" fontAlgn="b"/>
                      <a:r>
                        <a:rPr lang="ru-RU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щий итог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 944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09 584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518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,0%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2 650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462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352 235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1" u="none" strike="noStrike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endParaRPr lang="en-US" sz="105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5849" marR="5849" marT="5849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25689"/>
                  </a:ext>
                </a:extLst>
              </a:tr>
            </a:tbl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1074219" y="844204"/>
            <a:ext cx="1208315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050" i="1" dirty="0">
                <a:latin typeface="Arial" panose="020B0604020202020204" pitchFamily="34" charset="0"/>
                <a:cs typeface="Arial" panose="020B0604020202020204" pitchFamily="34" charset="0"/>
              </a:rPr>
              <a:t>млн. тенге</a:t>
            </a:r>
            <a:endParaRPr lang="en-US" sz="105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9262450" y="6466267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28766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ject 5"/>
          <p:cNvSpPr txBox="1"/>
          <p:nvPr/>
        </p:nvSpPr>
        <p:spPr>
          <a:xfrm>
            <a:off x="10470879" y="607251"/>
            <a:ext cx="1311662" cy="24077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ts val="2239"/>
              </a:lnSpc>
            </a:pPr>
            <a:r>
              <a:rPr sz="8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тенге</a:t>
            </a:r>
          </a:p>
        </p:txBody>
      </p:sp>
      <p:sp>
        <p:nvSpPr>
          <p:cNvPr id="48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2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ВЕДЕНИЯ ПО ПЛАТЕЛЬЩИКАМ СНР НА ОСНОВЕ УПРОЩЕННОЙ ДЕКЛАРАЦИИ</a:t>
            </a:r>
            <a:endParaRPr lang="en-US" sz="22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-3" y="0"/>
            <a:ext cx="12181117" cy="684988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/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ИДЫ ДЕЯТЕЛЬНОСТИ СНР ПО ВЗАИМОРАСЧЕТАМ С ОУР</a:t>
            </a:r>
            <a:endParaRPr lang="en-US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0" name="Таблица 4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46514318"/>
              </p:ext>
            </p:extLst>
          </p:nvPr>
        </p:nvGraphicFramePr>
        <p:xfrm>
          <a:off x="162962" y="869263"/>
          <a:ext cx="10963749" cy="6000510"/>
        </p:xfrm>
        <a:graphic>
          <a:graphicData uri="http://schemas.openxmlformats.org/drawingml/2006/table">
            <a:tbl>
              <a:tblPr firstRow="1" firstCol="1" bandRow="1">
                <a:tableStyleId>{3B4B98B0-60AC-42C2-AFA5-B58CD77FA1E5}</a:tableStyleId>
              </a:tblPr>
              <a:tblGrid>
                <a:gridCol w="74248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96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96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79644">
                  <a:extLst>
                    <a:ext uri="{9D8B030D-6E8A-4147-A177-3AD203B41FA5}">
                      <a16:colId xmlns:a16="http://schemas.microsoft.com/office/drawing/2014/main" val="1901863751"/>
                    </a:ext>
                  </a:extLst>
                </a:gridCol>
              </a:tblGrid>
              <a:tr h="34294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КЭД (подсекция)</a:t>
                      </a:r>
                      <a:endParaRPr lang="ru-RU" sz="11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</a:t>
                      </a:r>
                      <a:endParaRPr lang="ru-RU" sz="11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ля</a:t>
                      </a:r>
                      <a:endParaRPr lang="ru-RU" sz="115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Доля с </a:t>
                      </a:r>
                      <a:r>
                        <a:rPr lang="ru-RU" sz="1150" dirty="0" err="1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нараст</a:t>
                      </a:r>
                      <a:r>
                        <a:rPr lang="ru-RU" sz="1150" dirty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</a:txBody>
                  <a:tcPr marL="61401" marR="61401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ие прочих индивидуальных услуг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98 599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зничная торговля, кроме торговли автомобилями и мотоциклами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4 058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ециализированные строительные работы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7 963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ятельность сухопутного и трубопроводного транспорта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4 747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товая торговля, за исключением торговли автомобилями и мотоциклами</a:t>
                      </a:r>
                      <a:endParaRPr lang="ru-RU" sz="1150" b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6 834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ерации с недвижимым имуществом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5 825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ренда, прокат и лизинг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7 093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роительство зданий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0 281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разование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7 367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товая и розничная торговля автомобилями и мотоциклами и их ремонт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4 390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ятельность в области архитектуры, инженерных изысканий, технических испытаний и анализа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7 222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кладское хозяйство и вспомогательная транспортная деятельность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2 126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ие услуг по обеспечению питанием и напитками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878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мпьютерное программирование, консультационные и другие сопутствующие услуги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8 090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кламная деятельность и исследование конъюнктуры рынка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 170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оставление прочих видов услуг потребителям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8 674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ятельность по обслуживанию зданий и благоустройству территорий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 800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монт и установка машин и оборудования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6 430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ажданское строительство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 128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тениеводство и животноводство, охота и предоставление услуг в этих областях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4 148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34294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ятельность в области офисного административного и вспомогательного обслуживания, направленная на поддержание коммерческой деятельности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8 845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ятельность по обеспечению безопасности и расследованию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 703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ятельность в области спорта, организации отдыха и развлечений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 187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монт компьютеров, предметов личного потребления и бытовых товаров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 136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2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готовых металлических изделий, кроме машин и оборудования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3 802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продуктов питания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 375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ятельность в области информационного обслуживания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 946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чее</a:t>
                      </a:r>
                      <a:endParaRPr lang="ru-RU" sz="1150" b="0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0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5 424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15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7147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сего</a:t>
                      </a:r>
                      <a:endParaRPr lang="ru-RU" sz="115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  <a:tabLst>
                          <a:tab pos="113030" algn="l"/>
                        </a:tabLst>
                      </a:pPr>
                      <a:r>
                        <a:rPr lang="ru-RU" sz="115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 370 241</a:t>
                      </a: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50" b="1" dirty="0"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ru-RU" sz="1150" b="1" dirty="0"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150" b="1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1401" marR="61401" marT="0" marB="0" anchor="ctr"/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</a:tbl>
          </a:graphicData>
        </a:graphic>
      </p:graphicFrame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26235" y="6492875"/>
            <a:ext cx="2743200" cy="365125"/>
          </a:xfrm>
        </p:spPr>
        <p:txBody>
          <a:bodyPr/>
          <a:lstStyle/>
          <a:p>
            <a:fld id="{80F073CC-40D5-4B23-8DF0-9BD0A0C12F2C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46555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-1" y="14609"/>
            <a:ext cx="12181117" cy="684988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-2" y="7475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8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АГАЕМЫЕ СНР ПО ПРОЕКТУ НАЛОГОВОГО КОДЕКСА (1/1) </a:t>
            </a:r>
            <a:endParaRPr lang="en-US" sz="28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64696769"/>
              </p:ext>
            </p:extLst>
          </p:nvPr>
        </p:nvGraphicFramePr>
        <p:xfrm>
          <a:off x="126749" y="819013"/>
          <a:ext cx="12012183" cy="5767044"/>
        </p:xfrm>
        <a:graphic>
          <a:graphicData uri="http://schemas.openxmlformats.org/drawingml/2006/table">
            <a:tbl>
              <a:tblPr/>
              <a:tblGrid>
                <a:gridCol w="187628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555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411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3818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0172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40868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170608">
                  <a:extLst>
                    <a:ext uri="{9D8B030D-6E8A-4147-A177-3AD203B41FA5}">
                      <a16:colId xmlns:a16="http://schemas.microsoft.com/office/drawing/2014/main" val="1627706776"/>
                    </a:ext>
                  </a:extLst>
                </a:gridCol>
              </a:tblGrid>
              <a:tr h="434168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бъект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ел по доходу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ленность работников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ка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</a:t>
                      </a:r>
                      <a:r>
                        <a:rPr lang="ru-RU" sz="1400" b="1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еятельности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4613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НР для самозанятых </a:t>
                      </a: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патент, МП, ПЗ)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Л 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ход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b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80 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РП в год (</a:t>
                      </a:r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млн. тенге</a:t>
                      </a:r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з работников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% только </a:t>
                      </a:r>
                      <a:r>
                        <a:rPr lang="ru-RU" sz="1400" b="1" i="0" u="none" strike="noStrike" kern="120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ПВ, 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, ОСМС, </a:t>
                      </a:r>
                      <a:r>
                        <a:rPr lang="ru-RU" sz="1400" b="1" i="0" u="sng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ИПН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 деятельности исключительно согласно перечню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62275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Р на основе упрощенной деклараци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П, ТО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0 000 </a:t>
                      </a: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РП </a:t>
                      </a:r>
                      <a:b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год 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2,2 млрд. тенге)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не ведение </a:t>
                      </a:r>
                      <a:r>
                        <a:rPr lang="ru-RU" sz="1400" b="1" i="0" u="none" strike="noStrike" kern="120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ух.учета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ИП в пределах дохода  до 135 тыс. МРП </a:t>
                      </a:r>
                      <a:b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500 млн. тенге))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baseline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% для В2С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право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слихатов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на снижение/</a:t>
                      </a:r>
                      <a:r>
                        <a:rPr lang="ru-RU" sz="1400" b="1" i="0" u="none" strike="noStrike" kern="1200" baseline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вышение </a:t>
                      </a: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50%)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% для производства </a:t>
                      </a:r>
                      <a:endParaRPr lang="ru-RU" sz="1400" b="1" i="0" u="none" strike="noStrike" kern="1200" baseline="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% В2В - </a:t>
                      </a:r>
                      <a:r>
                        <a:rPr lang="kk-KZ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</a:t>
                      </a:r>
                      <a:r>
                        <a:rPr lang="kk-KZ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kk-KZ" sz="1400" b="1" i="0" u="none" strike="noStrike" kern="1200" baseline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оварам</a:t>
                      </a:r>
                      <a:r>
                        <a:rPr lang="kk-KZ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работам и услугам, оказанным налогоплательщикам, применяющим ОУ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претительный список </a:t>
                      </a:r>
                      <a:r>
                        <a:rPr lang="ru-RU" sz="1400" b="0" i="1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согласно перечню, слайд 2) 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baseline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1400" b="1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граничение по вычету между  взаимосвязанными сторонами </a:t>
                      </a:r>
                      <a:r>
                        <a:rPr lang="ru-RU" sz="14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kumimoji="1" lang="en-US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baseline="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688657"/>
                  </a:ext>
                </a:extLst>
              </a:tr>
              <a:tr h="1710557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НР для КФХ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ФХ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храняются льготы, как есть, только налог платится в виде 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ПН для КФХ с упразднением ЕЗН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% от дохода </a:t>
                      </a:r>
                    </a:p>
                    <a:p>
                      <a:pPr algn="ctr" rtl="0" fontAlgn="ctr"/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мельный налог по неэффективно используемым землям 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40-кратном размере от базовой ставки</a:t>
                      </a:r>
                    </a:p>
                    <a:p>
                      <a:pPr marL="0" algn="ctr" defTabSz="914400" rtl="0" eaLnBrk="1" fontAlgn="ctr" latinLnBrk="0" hangingPunct="1"/>
                      <a:endParaRPr lang="kk-KZ" sz="1400" b="1" i="0" u="none" strike="noStrike" kern="1200" baseline="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9226235" y="652291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975354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0"/>
            <a:ext cx="12192000" cy="698291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/>
            <a:r>
              <a:rPr lang="ru-RU" sz="2400" b="1" dirty="0">
                <a:latin typeface="Arial" panose="020B0604020202020204" pitchFamily="34" charset="0"/>
                <a:cs typeface="Arial" panose="020B0604020202020204" pitchFamily="34" charset="0"/>
              </a:rPr>
              <a:t>РАЗРЕШЕННЫЕ ВИДЫ ДЕЯТЕЛЬНОСТИ ПО СНР ДЛЯ САМОЗАНЯТЫХ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(1/2)</a:t>
            </a:r>
            <a:endParaRPr lang="ru-RU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>
          <a:xfrm>
            <a:off x="7841055" y="6377571"/>
            <a:ext cx="41148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204834" y="958315"/>
            <a:ext cx="5664200" cy="584775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тукатурные работы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олярные и плотницкие работы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ы по покрытию полов и облицовке стен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ярные и стекольные работы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такси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зовые перевозки автомобильным транспортом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недвижимостью за вознаграждение или на договорной основе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области фотографии и видеосъемки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водческое (устное и письменное) дело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дача в имущественный наем (аренду) жилой недвижимости; 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 образования в сфере культуры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луги в области прочего образования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помогательные образовательные услуги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в области искусства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по уходу за детьми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 компьютеров и периферийного оборудования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 коммуникационного оборудования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 предметов личного потребления и бытовых товаров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монт обуви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arenR"/>
            </a:pPr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рикмахерские услуги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en-US" sz="145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kumimoji="1" lang="kk-KZ" sz="1450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6210300" y="958315"/>
            <a:ext cx="5981700" cy="398570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1)   дизайнерские услуги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2)   маникюр и педикюр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3)   ветеринарные услуги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)   услуги по обработке земельных участков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)   услуги по ведению домашних хозяйств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)   услуги носильщиков на рынках, вокзалах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)   услуги по выпечке хлебобулочных и мучных кондитерских </a:t>
            </a: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делий не длительного хранения в домашних условиях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)   курьерская доставка, за исключением услуг по доставке почтовых отправлений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)   изготовление и ремонт музыкальных инструментов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)   выпас домашних животных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)   прочие электромонтажные работы;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5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2)   монтаж систем водоснабжения, отопления и кондиционирования воздуха.</a:t>
            </a:r>
            <a:endParaRPr lang="en-US" sz="15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en-US" sz="1600" dirty="0">
              <a:solidFill>
                <a:srgbClr val="002060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v"/>
            </a:pPr>
            <a:endParaRPr kumimoji="1" lang="kk-KZ" sz="1200" dirty="0">
              <a:solidFill>
                <a:srgbClr val="00B05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66662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2.xml><?xml version="1.0" encoding="utf-8"?>
<a:theme xmlns:a="http://schemas.openxmlformats.org/drawingml/2006/main" name="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2407</TotalTime>
  <Words>2727</Words>
  <Application>Microsoft Office PowerPoint</Application>
  <PresentationFormat>Широкоэкранный</PresentationFormat>
  <Paragraphs>822</Paragraphs>
  <Slides>11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2" baseType="lpstr">
      <vt:lpstr>Arial</vt:lpstr>
      <vt:lpstr>Bookman Old Style</vt:lpstr>
      <vt:lpstr>Calibri</vt:lpstr>
      <vt:lpstr>Calibri Light</vt:lpstr>
      <vt:lpstr>Century Gothic</vt:lpstr>
      <vt:lpstr>Times New Roman</vt:lpstr>
      <vt:lpstr>Wingdings</vt:lpstr>
      <vt:lpstr>Wingdings 3</vt:lpstr>
      <vt:lpstr>Сектор</vt:lpstr>
      <vt:lpstr>Office Them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User</cp:lastModifiedBy>
  <cp:revision>221</cp:revision>
  <cp:lastPrinted>2024-09-25T13:16:14Z</cp:lastPrinted>
  <dcterms:created xsi:type="dcterms:W3CDTF">2024-05-17T10:30:13Z</dcterms:created>
  <dcterms:modified xsi:type="dcterms:W3CDTF">2024-10-07T01:49:46Z</dcterms:modified>
</cp:coreProperties>
</file>